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3"/>
  </p:notesMasterIdLst>
  <p:sldIdLst>
    <p:sldId id="389" r:id="rId2"/>
  </p:sldIdLst>
  <p:sldSz cx="9906000" cy="6858000" type="A4"/>
  <p:notesSz cx="6797675" cy="9928225"/>
  <p:custDataLst>
    <p:tags r:id="rId4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122" d="100"/>
          <a:sy n="122" d="100"/>
        </p:scale>
        <p:origin x="1374" y="90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8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microsoft.com/office/2015/10/relationships/revisionInfo" Target="revisionInfo.xml"/><Relationship Id="rId5" Type="http://schemas.openxmlformats.org/officeDocument/2006/relationships/presProps" Target="presProps.xml"/><Relationship Id="rId10" Type="http://schemas.microsoft.com/office/2018/10/relationships/authors" Target="author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21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xmlns="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xmlns="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xmlns="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xmlns="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xmlns="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5065" y="855327"/>
            <a:ext cx="9604279" cy="713299"/>
          </a:xfrm>
        </p:spPr>
        <p:txBody>
          <a:bodyPr/>
          <a:lstStyle/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(можно самостоятельно с 14 лет)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енная учетная запис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- это полный доступ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ко всем услуга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ртала,</a:t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в том числе:</a:t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64460" y="1985909"/>
            <a:ext cx="3401008" cy="1384995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</a:t>
            </a:r>
            <a:r>
              <a:rPr lang="ru-RU" sz="1200" dirty="0" smtClean="0">
                <a:solidFill>
                  <a:srgbClr val="253779"/>
                </a:solidFill>
              </a:rPr>
              <a:t>рублей - </a:t>
            </a:r>
            <a:r>
              <a:rPr lang="ru-RU" sz="1200" dirty="0">
                <a:solidFill>
                  <a:srgbClr val="253779"/>
                </a:solidFill>
              </a:rPr>
              <a:t>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 так и всей страны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065" y="3606502"/>
            <a:ext cx="3440480" cy="1891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205" y="3627355"/>
            <a:ext cx="3480349" cy="187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5058079" y="1947673"/>
            <a:ext cx="3480349" cy="1569660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</a:t>
            </a:r>
            <a:r>
              <a:rPr lang="ru-RU" sz="1200" dirty="0" smtClean="0">
                <a:solidFill>
                  <a:srgbClr val="253779"/>
                </a:solidFill>
              </a:rPr>
              <a:t>страны - </a:t>
            </a:r>
            <a:r>
              <a:rPr lang="ru-RU" sz="1200" dirty="0" smtClean="0">
                <a:solidFill>
                  <a:srgbClr val="253779"/>
                </a:solidFill>
              </a:rPr>
              <a:t>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279351" y="313916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Приглашаем школьников в отделения почтовой связ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308" y="1706547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7351" y="168431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927563" y="1631535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49766" y="1617566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9063" y="5608316"/>
            <a:ext cx="9281405" cy="106113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400" b="0" u="sng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400" b="0" u="sng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400" b="0" u="sng" dirty="0" smtClean="0">
                <a:solidFill>
                  <a:schemeClr val="accent1">
                    <a:lumMod val="50000"/>
                  </a:schemeClr>
                </a:solidFill>
              </a:rPr>
              <a:t> можно в следующих ОПС Камчатского края:</a:t>
            </a:r>
          </a:p>
          <a:p>
            <a:pPr algn="ctr"/>
            <a:endParaRPr lang="ru-RU" sz="1400" b="0" u="sng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lvl="0"/>
            <a:r>
              <a:rPr lang="ru-RU" sz="1400" b="0" u="sng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2000" b="0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537679"/>
              </p:ext>
            </p:extLst>
          </p:nvPr>
        </p:nvGraphicFramePr>
        <p:xfrm>
          <a:off x="1223553" y="5815034"/>
          <a:ext cx="7473967" cy="800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73967">
                  <a:extLst>
                    <a:ext uri="{9D8B030D-6E8A-4147-A177-3AD203B41FA5}">
                      <a16:colId xmlns:a16="http://schemas.microsoft.com/office/drawing/2014/main" xmlns="" val="4206853383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r>
                        <a:rPr lang="ru-RU" sz="1400" u="none" strike="noStrike" dirty="0" smtClean="0">
                          <a:effectLst/>
                        </a:rPr>
                        <a:t>. 684029</a:t>
                      </a:r>
                      <a:r>
                        <a:rPr lang="ru-RU" sz="1400" u="none" strike="noStrike" dirty="0">
                          <a:effectLst/>
                        </a:rPr>
                        <a:t>, Камчатский край, Елизовский р-н, п. </a:t>
                      </a:r>
                      <a:r>
                        <a:rPr lang="ru-RU" sz="1400" u="none" strike="noStrike" dirty="0" err="1">
                          <a:effectLst/>
                        </a:rPr>
                        <a:t>Сокоч</a:t>
                      </a:r>
                      <a:r>
                        <a:rPr lang="ru-RU" sz="1400" u="none" strike="noStrike" dirty="0">
                          <a:effectLst/>
                        </a:rPr>
                        <a:t>, ул. Лесная, д. 4;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4415789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r>
                        <a:rPr lang="ru-RU" sz="1400" u="none" strike="noStrike" dirty="0" smtClean="0">
                          <a:effectLst/>
                        </a:rPr>
                        <a:t>. </a:t>
                      </a:r>
                      <a:r>
                        <a:rPr lang="ru-RU" sz="1400" u="none" strike="noStrike" dirty="0">
                          <a:effectLst/>
                        </a:rPr>
                        <a:t>684021, Камчатский край, Елизовский р-н, с. Коряки, ул. Колхозная, д. 13;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76034918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400" u="none" strike="noStrike" dirty="0">
                          <a:effectLst/>
                        </a:rPr>
                        <a:t>3. 684036, Камчатский край, Елизовский р-н, </a:t>
                      </a:r>
                      <a:r>
                        <a:rPr lang="ru-RU" sz="1400" u="none" strike="noStrike" dirty="0" err="1">
                          <a:effectLst/>
                        </a:rPr>
                        <a:t>рп</a:t>
                      </a:r>
                      <a:r>
                        <a:rPr lang="ru-RU" sz="1400" u="none" strike="noStrike" dirty="0">
                          <a:effectLst/>
                        </a:rPr>
                        <a:t>. </a:t>
                      </a:r>
                      <a:r>
                        <a:rPr lang="ru-RU" sz="1400" u="none" strike="noStrike" dirty="0" err="1">
                          <a:effectLst/>
                        </a:rPr>
                        <a:t>Вулканный</a:t>
                      </a:r>
                      <a:r>
                        <a:rPr lang="ru-RU" sz="1400" u="none" strike="noStrike" dirty="0">
                          <a:effectLst/>
                        </a:rPr>
                        <a:t>, ул. Центральная, д. 6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762251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94</TotalTime>
  <Words>183</Words>
  <Application>Microsoft Office PowerPoint</Application>
  <PresentationFormat>Лист A4 (210x297 мм)</PresentationFormat>
  <Paragraphs>13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Times New Roman</vt:lpstr>
      <vt:lpstr>1_Тема Office</vt:lpstr>
      <vt:lpstr>think-cell Slide</vt:lpstr>
      <vt:lpstr>Подтвердить личность на портале Госуслуг (можно самостоятельно с 14 лет) Подтвержденная учетная запись на портале Госуслуг- это полный доступ ко всем услугам портала, в том числе: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Максаева Дарья Станиславовна</cp:lastModifiedBy>
  <cp:revision>790</cp:revision>
  <cp:lastPrinted>2022-11-17T01:24:05Z</cp:lastPrinted>
  <dcterms:created xsi:type="dcterms:W3CDTF">2021-07-19T08:04:33Z</dcterms:created>
  <dcterms:modified xsi:type="dcterms:W3CDTF">2022-11-20T22:13:44Z</dcterms:modified>
</cp:coreProperties>
</file>